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4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619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6</c:f>
              <c:numCache>
                <c:formatCode>General</c:formatCode>
                <c:ptCount val="5"/>
                <c:pt idx="0">
                  <c:v>0.7</c:v>
                </c:pt>
                <c:pt idx="1">
                  <c:v>1.8</c:v>
                </c:pt>
                <c:pt idx="2">
                  <c:v>1.2</c:v>
                </c:pt>
                <c:pt idx="3">
                  <c:v>2.4</c:v>
                </c:pt>
                <c:pt idx="4">
                  <c:v>2.6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2.7</c:v>
                </c:pt>
                <c:pt idx="1">
                  <c:v>3.2</c:v>
                </c:pt>
                <c:pt idx="2">
                  <c:v>2.2000000000000002</c:v>
                </c:pt>
                <c:pt idx="3">
                  <c:v>3</c:v>
                </c:pt>
                <c:pt idx="4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32B-470B-80B2-A808FC5C1D2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209958863"/>
        <c:axId val="209962703"/>
      </c:scatterChart>
      <c:valAx>
        <c:axId val="209958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62703"/>
        <c:crosses val="autoZero"/>
        <c:crossBetween val="midCat"/>
      </c:valAx>
      <c:valAx>
        <c:axId val="209962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5886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D2DA5-0FBE-21F5-A26B-8A99D6222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F62E0-432D-DA42-225C-D52A91C6D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ed Data &amp; Insight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7033B04-3462-DE45-AFFA-2B6897D629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2397097"/>
            <a:ext cx="8201025" cy="7325576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graphicFrame>
        <p:nvGraphicFramePr>
          <p:cNvPr id="5" name="Content Placeholder 8">
            <a:extLst>
              <a:ext uri="{FF2B5EF4-FFF2-40B4-BE49-F238E27FC236}">
                <a16:creationId xmlns:a16="http://schemas.microsoft.com/office/drawing/2014/main" id="{C8A6B65B-CDC6-5F7F-5B6B-1C1A5D0F9642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502762"/>
          <a:ext cx="8201025" cy="6712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CC48E2-160B-5626-C23C-282E6719A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39455841-575F-88F0-AD6F-71F1707097CA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1FBBA6A6-6CB5-8E4F-2A7E-F93DC2635408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66985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6</TotalTime>
  <Words>218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lanced Data &amp; Insights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6</cp:revision>
  <dcterms:created xsi:type="dcterms:W3CDTF">2006-08-16T00:00:00Z</dcterms:created>
  <dcterms:modified xsi:type="dcterms:W3CDTF">2025-10-06T09:09:22Z</dcterms:modified>
  <cp:category/>
  <dc:identifier>DAGkDf5R9EM</dc:identifier>
</cp:coreProperties>
</file>